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51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9551A-AE03-4FE0-B6A0-2A827AF512B7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6422C9-BBE2-485A-972D-86990ED6DC9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353945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82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2880F0-BABD-4CA2-90C9-0672385A90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FAD266-F530-485F-B163-91228537AA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777412-CCCB-41E5-946D-40E30665E4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137A8D-FC13-4103-B53E-97ADC3CE9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AED66C-8244-4D41-9395-F9763DF36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59218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08377-28EA-4092-A925-CD1099DA4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768243-EE93-440E-B351-D654C47AF8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AD6ED3-348E-48AD-B0FF-5A6F7ACEAF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F53AA7-9447-4F6A-B545-443BA2E8FD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198EEA-2F63-4370-9C26-FA58417B3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39100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C555A99-A6BD-4B15-ABA0-9CA388A9666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D9B437-8099-460B-8999-AA9FFBD54E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8A0917-EBAD-4D6D-BF3E-4BB9059565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3EC11-4E13-4847-8B84-D14AF89592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F39276-D187-482B-B84E-2F306E724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153464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7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7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1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4" y="4335680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1"/>
            </a:lvl1pPr>
            <a:lvl2pPr marL="457206" indent="0">
              <a:buNone/>
              <a:defRPr sz="900"/>
            </a:lvl2pPr>
            <a:lvl3pPr marL="914411" indent="0">
              <a:buNone/>
              <a:defRPr sz="800"/>
            </a:lvl3pPr>
            <a:lvl4pPr marL="1371617" indent="0">
              <a:buNone/>
              <a:defRPr sz="700"/>
            </a:lvl4pPr>
            <a:lvl5pPr marL="1828823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10571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ABEA4-A9FF-4BD5-82B1-EF1594C675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40130C-F75E-47BB-8F20-DFEED479D7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A24F3C-36F2-43BF-8D26-6B6019CEC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682414-D7B8-4F12-91A8-A3D9CB4A19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313DBF-E85F-4DD3-AD4D-EB2D34474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33173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884EC8-9977-4A53-BC45-C82AFF6BE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69A655-C6F1-42E3-8DCC-0EA11E2FDE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541019-0B21-4464-B825-21AE073E7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51793C-E169-4B45-9F0E-63D931C2E0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ABFD66-6616-48BD-A830-D263922345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101953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BCFEC-3884-42E8-B109-4D2759549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938AA1-9FEC-4E15-9DF0-0A388B94859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D807C1-D903-4C1F-85BF-AE96BF8567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D1DC3A-4FFE-4AC4-B733-62A1673260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A8E595-9D1B-4140-AE9F-D8515C3B2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25F66C-5676-4A69-B91D-D20CDF4E7E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140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8EC7A3-F160-4C3E-A432-5A843A007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38DCC7-DDB5-48C5-91F7-03D27176F9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51C169-6E8F-4FAB-812B-C35D99A16F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64C16D-0881-4ACA-9169-6077974695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6EE2777-89FC-4680-89C3-F6092EDE5D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77C821A-2C8A-4D0D-8D0A-3DAAB39AD2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FCD736-EEA4-43D5-8A1B-E6729225F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382047E-A3EA-4450-A3EB-8EF4BE550D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56788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A0BAD-7F42-46CB-B718-132019A64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B489D-C06A-4C36-AFB2-6DDFB184C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4EA3E9-80D6-41C3-9347-8E75D47F2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FDE012-157A-49EA-9BE4-699F43E43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00819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FB6D10-F2FA-4503-8601-6AAF6EAD37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8B346A-922A-4301-A54F-1B87B5FBF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C18F3B-02DF-4D24-9A04-D588FEFC41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876453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670A28-032C-439E-90D4-4F6581288D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7644CF-17D7-4671-A039-7C5BA64585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FCE133-C95D-4335-A7D0-900118C583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628473-F8A8-47F9-9A78-BF7D8BAC15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9E6793-F704-4EBE-AFB5-3549F3F72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AE0A9D-7A92-4FE1-BD3B-00FC8BD09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660479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51A0DA-73F7-46AA-A896-2050FBDD6E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4237B55-3947-49F4-A38E-75BC9875C8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E4A10F-8AAD-41A3-83DD-567545A8C9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84172B-C38D-4B2E-A12A-33DA97728B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BD0432-09CE-4111-92C5-5D5901CC91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B53572-D730-46D0-9302-7CA1AFDFC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52399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CEF2B5-5939-4EFC-B83D-6CA369215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BDC76B-C129-4ED6-A8A7-816F44A7FE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765A4B-BF9D-411B-8A62-A6F14BF61B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1AAA9A-D64F-46D1-8D35-2CD9323337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0B554-C6C7-419C-AE71-2B5F23B2FB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65264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63399" y="4167925"/>
            <a:ext cx="4576437" cy="737502"/>
          </a:xfrm>
        </p:spPr>
        <p:txBody>
          <a:bodyPr/>
          <a:lstStyle/>
          <a:p>
            <a:r>
              <a:rPr lang="fr-CA" sz="2000" b="1" dirty="0">
                <a:solidFill>
                  <a:schemeClr val="bg1"/>
                </a:solidFill>
              </a:rPr>
              <a:t>Un programme de gestion du changement pour le </a:t>
            </a:r>
            <a:r>
              <a:rPr lang="fr-CA" sz="2000" b="1" dirty="0" err="1">
                <a:solidFill>
                  <a:schemeClr val="bg1"/>
                </a:solidFill>
              </a:rPr>
              <a:t>PTMdT</a:t>
            </a:r>
            <a:r>
              <a:rPr lang="fr-CA" sz="2000" b="1" dirty="0">
                <a:solidFill>
                  <a:schemeClr val="bg1"/>
                </a:solidFill>
              </a:rPr>
              <a:t> </a:t>
            </a:r>
          </a:p>
          <a:p>
            <a:r>
              <a:rPr lang="fr-CA" sz="1600" dirty="0">
                <a:solidFill>
                  <a:schemeClr val="bg1"/>
                </a:solidFill>
              </a:rPr>
              <a:t>2022</a:t>
            </a:r>
            <a:endParaRPr lang="en-CA" sz="1600" dirty="0">
              <a:solidFill>
                <a:schemeClr val="bg1"/>
              </a:solidFill>
            </a:endParaRPr>
          </a:p>
        </p:txBody>
      </p:sp>
      <p:sp>
        <p:nvSpPr>
          <p:cNvPr id="9" name="Rectangle 8" descr="White rectangle"/>
          <p:cNvSpPr/>
          <p:nvPr/>
        </p:nvSpPr>
        <p:spPr>
          <a:xfrm>
            <a:off x="-8413" y="6147123"/>
            <a:ext cx="12207758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>
              <a:solidFill>
                <a:srgbClr val="FFFFFF"/>
              </a:solidFill>
            </a:endParaRPr>
          </a:p>
        </p:txBody>
      </p:sp>
      <p:pic>
        <p:nvPicPr>
          <p:cNvPr id="14" name="Picture 13" descr="Image result for canada wordmark">
            <a:hlinkClick r:id="rId3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890" y="6396332"/>
            <a:ext cx="885392" cy="229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Government of Canada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83" y="6374999"/>
            <a:ext cx="2036645" cy="250665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9C7B267-8E4E-4606-83CD-593084358E15}"/>
              </a:ext>
            </a:extLst>
          </p:cNvPr>
          <p:cNvSpPr txBox="1">
            <a:spLocks/>
          </p:cNvSpPr>
          <p:nvPr/>
        </p:nvSpPr>
        <p:spPr>
          <a:xfrm>
            <a:off x="5170494" y="2135703"/>
            <a:ext cx="6750606" cy="7375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1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2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7200" b="1" dirty="0">
                <a:solidFill>
                  <a:schemeClr val="accent3">
                    <a:lumMod val="75000"/>
                  </a:schemeClr>
                </a:solidFill>
                <a:latin typeface="Arial Rounded MT Bold" panose="020F0704030504030204" pitchFamily="34" charset="0"/>
              </a:rPr>
              <a:t>Stratégie de GdC</a:t>
            </a:r>
            <a:endParaRPr lang="en-CA" sz="6000" dirty="0">
              <a:solidFill>
                <a:schemeClr val="accent3">
                  <a:lumMod val="7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31B9B4-E232-4917-9FCA-414BC4874280}"/>
              </a:ext>
            </a:extLst>
          </p:cNvPr>
          <p:cNvSpPr txBox="1"/>
          <p:nvPr/>
        </p:nvSpPr>
        <p:spPr>
          <a:xfrm rot="21137394">
            <a:off x="7064186" y="4156341"/>
            <a:ext cx="146056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2400" dirty="0">
                <a:solidFill>
                  <a:schemeClr val="accent4"/>
                </a:solidFill>
                <a:latin typeface="Modern Love Grunge" panose="020B0604020202020204" pitchFamily="82" charset="0"/>
              </a:rPr>
              <a:t>À venir!</a:t>
            </a:r>
            <a:endParaRPr kumimoji="0" lang="en-CA" sz="24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Modern Love Grunge" panose="020B0604020202020204" pitchFamily="82" charset="0"/>
            </a:endParaRPr>
          </a:p>
        </p:txBody>
      </p:sp>
      <p:pic>
        <p:nvPicPr>
          <p:cNvPr id="18" name="Picture 4" descr="image">
            <a:extLst>
              <a:ext uri="{FF2B5EF4-FFF2-40B4-BE49-F238E27FC236}">
                <a16:creationId xmlns:a16="http://schemas.microsoft.com/office/drawing/2014/main" id="{2FCDE3B5-3D80-408E-8238-857E1C73EF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4156" y="211026"/>
            <a:ext cx="2317467" cy="452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75680B8-BCDF-4407-9BD7-443E341ABE3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48" t="13800" r="6466" b="11945"/>
          <a:stretch/>
        </p:blipFill>
        <p:spPr>
          <a:xfrm>
            <a:off x="737067" y="1004093"/>
            <a:ext cx="4229100" cy="4657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77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</TotalTime>
  <Words>17</Words>
  <Application>Microsoft Office PowerPoint</Application>
  <PresentationFormat>Widescreen</PresentationFormat>
  <Paragraphs>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Modern Love Grunge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ntal Bemeur</dc:creator>
  <cp:lastModifiedBy>Sophie Genereux</cp:lastModifiedBy>
  <cp:revision>3</cp:revision>
  <dcterms:created xsi:type="dcterms:W3CDTF">2022-09-08T13:47:28Z</dcterms:created>
  <dcterms:modified xsi:type="dcterms:W3CDTF">2022-09-09T02:1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2-09-08T13:47:28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928b205a-5213-44a6-882d-a4bef6291f22</vt:lpwstr>
  </property>
  <property fmtid="{D5CDD505-2E9C-101B-9397-08002B2CF9AE}" pid="8" name="MSIP_Label_834ed4f5-eae4-40c7-82be-b1cdf720a1b9_ContentBits">
    <vt:lpwstr>1</vt:lpwstr>
  </property>
  <property fmtid="{D5CDD505-2E9C-101B-9397-08002B2CF9AE}" pid="9" name="ClassificationContentMarkingHeaderLocations">
    <vt:lpwstr>Office Theme:8</vt:lpwstr>
  </property>
  <property fmtid="{D5CDD505-2E9C-101B-9397-08002B2CF9AE}" pid="10" name="ClassificationContentMarkingHeaderText">
    <vt:lpwstr>UNCLASSIFIED - NON CLASSIFIÉ</vt:lpwstr>
  </property>
</Properties>
</file>